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9" r:id="rId4"/>
    <p:sldMasterId id="2147483678" r:id="rId5"/>
    <p:sldMasterId id="2147483702" r:id="rId6"/>
    <p:sldMasterId id="2147483660" r:id="rId7"/>
  </p:sldMasterIdLst>
  <p:notesMasterIdLst>
    <p:notesMasterId r:id="rId9"/>
  </p:notesMasterIdLst>
  <p:handoutMasterIdLst>
    <p:handoutMasterId r:id="rId10"/>
  </p:handoutMasterIdLst>
  <p:sldIdLst>
    <p:sldId id="2134807091" r:id="rId8"/>
  </p:sldIdLst>
  <p:sldSz cx="9906000" cy="6858000" type="A4"/>
  <p:notesSz cx="9939338" cy="6805613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pos="308" userDrawn="1">
          <p15:clr>
            <a:srgbClr val="A4A3A4"/>
          </p15:clr>
        </p15:guide>
        <p15:guide id="4" orient="horz" pos="3748" userDrawn="1">
          <p15:clr>
            <a:srgbClr val="A4A3A4"/>
          </p15:clr>
        </p15:guide>
        <p15:guide id="5" orient="horz" pos="2092" userDrawn="1">
          <p15:clr>
            <a:srgbClr val="A4A3A4"/>
          </p15:clr>
        </p15:guide>
        <p15:guide id="6" pos="3936" userDrawn="1">
          <p15:clr>
            <a:srgbClr val="A4A3A4"/>
          </p15:clr>
        </p15:guide>
        <p15:guide id="7" pos="5978" userDrawn="1">
          <p15:clr>
            <a:srgbClr val="A4A3A4"/>
          </p15:clr>
        </p15:guide>
        <p15:guide id="8" pos="3687" userDrawn="1">
          <p15:clr>
            <a:srgbClr val="A4A3A4"/>
          </p15:clr>
        </p15:guide>
        <p15:guide id="9" pos="3052" userDrawn="1">
          <p15:clr>
            <a:srgbClr val="A4A3A4"/>
          </p15:clr>
        </p15:guide>
        <p15:guide id="10" orient="horz" pos="1706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2" pos="3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05C8CB-EB54-CD76-5506-4CD04C6C4C22}" name="김 동민" initials="동김" userId="S::min9056@withie.co.kr::844e4c5f-951c-485d-9e8b-e9abb8c1b9a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6E6E"/>
    <a:srgbClr val="FFFFD1"/>
    <a:srgbClr val="D9E1F2"/>
    <a:srgbClr val="FFFEE6"/>
    <a:srgbClr val="4214FE"/>
    <a:srgbClr val="DAEDEF"/>
    <a:srgbClr val="E6E6E6"/>
    <a:srgbClr val="0000FA"/>
    <a:srgbClr val="0000FF"/>
    <a:srgbClr val="E6B5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916" y="60"/>
      </p:cViewPr>
      <p:guideLst>
        <p:guide orient="horz" pos="4065"/>
        <p:guide pos="308"/>
        <p:guide orient="horz" pos="3748"/>
        <p:guide orient="horz" pos="2092"/>
        <p:guide pos="3936"/>
        <p:guide pos="5978"/>
        <p:guide pos="3687"/>
        <p:guide pos="3052"/>
        <p:guide orient="horz" pos="1706"/>
        <p:guide orient="horz" pos="550"/>
        <p:guide pos="35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84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630285" y="1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8F445-EC1A-4A49-ADBB-B8D9BD6A9271}" type="datetimeFigureOut">
              <a:rPr lang="ko-KR" altLang="en-US" smtClean="0"/>
              <a:t>2024-05-2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2" y="6464300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630285" y="6464300"/>
            <a:ext cx="4306737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9F761-135D-4538-A77F-CDF2FC910AF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68114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7047" cy="341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29993" y="1"/>
            <a:ext cx="4307047" cy="341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D10041-3460-4F6A-A7EF-F01620F6C00E}" type="datetimeFigureOut">
              <a:rPr lang="ko-KR" altLang="en-US" smtClean="0"/>
              <a:t>2024-05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309938" y="850900"/>
            <a:ext cx="3319462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3935" y="3275202"/>
            <a:ext cx="7951470" cy="267971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6464152"/>
            <a:ext cx="4307047" cy="341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29993" y="6464152"/>
            <a:ext cx="4307047" cy="341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0093AC-2C16-4D3F-98A8-DB8AD506064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2987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44" userDrawn="1">
          <p15:clr>
            <a:srgbClr val="F26B43"/>
          </p15:clr>
        </p15:guide>
        <p15:guide id="2" pos="313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50391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584129069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8309892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634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fld id="{ABBAB431-A10F-45AC-927E-A8C17882AE02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15" y="6456979"/>
            <a:ext cx="12133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1376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1"/>
          <p:cNvCxnSpPr/>
          <p:nvPr userDrawn="1"/>
        </p:nvCxnSpPr>
        <p:spPr>
          <a:xfrm>
            <a:off x="9525" y="6492875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61271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6127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79394" y="762000"/>
            <a:ext cx="9454130" cy="5691336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21717964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012376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438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pic>
        <p:nvPicPr>
          <p:cNvPr id="19" name="Picture 18" descr="pasted-image.pd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24866" y="5935745"/>
            <a:ext cx="1056268" cy="3016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4182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nomenclature"/>
          <p:cNvSpPr txBox="1"/>
          <p:nvPr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931855" y="6458956"/>
            <a:ext cx="65" cy="13234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it-IT" sz="1000" b="1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280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/>
          <a:lstStyle/>
          <a:p>
            <a:fld id="{ABBAB431-A10F-45AC-927E-A8C17882AE02}" type="slidenum">
              <a:rPr lang="ko-KR" altLang="en-US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15" y="6456979"/>
            <a:ext cx="1213338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464651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7530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40530" y="785794"/>
            <a:ext cx="9402134" cy="5715040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092" y="87830"/>
            <a:ext cx="924563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313098792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72649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29904" y="1628800"/>
            <a:ext cx="6913563" cy="1224137"/>
          </a:xfrm>
        </p:spPr>
        <p:txBody>
          <a:bodyPr wrap="square" tIns="72000" bIns="72000" anchor="t"/>
          <a:lstStyle>
            <a:lvl1pPr>
              <a:defRPr sz="2742"/>
            </a:lvl1pPr>
          </a:lstStyle>
          <a:p>
            <a:r>
              <a:rPr lang="ko-KR" altLang="en-US"/>
              <a:t>마스터 제목 스타일 편집</a:t>
            </a:r>
            <a:endParaRPr lang="ko-KR" altLang="ko-KR"/>
          </a:p>
        </p:txBody>
      </p:sp>
    </p:spTree>
    <p:extLst>
      <p:ext uri="{BB962C8B-B14F-4D97-AF65-F5344CB8AC3E}">
        <p14:creationId xmlns:p14="http://schemas.microsoft.com/office/powerpoint/2010/main" val="239656224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79394" y="762000"/>
            <a:ext cx="9454130" cy="5691336"/>
          </a:xfrm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3pPr>
            <a:lvl4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 sz="900"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95766442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76965454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3" y="1406529"/>
            <a:ext cx="8964366" cy="4932363"/>
          </a:xfrm>
        </p:spPr>
        <p:txBody>
          <a:bodyPr/>
          <a:lstStyle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805521" y="6478672"/>
            <a:ext cx="619022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GB" sz="110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4" name="DocID"/>
          <p:cNvSpPr txBox="1"/>
          <p:nvPr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  <p:sp>
        <p:nvSpPr>
          <p:cNvPr id="9" name="DocID"/>
          <p:cNvSpPr txBox="1"/>
          <p:nvPr userDrawn="1"/>
        </p:nvSpPr>
        <p:spPr>
          <a:xfrm>
            <a:off x="1307502" y="6547859"/>
            <a:ext cx="65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606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80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3092088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8043" y="170116"/>
            <a:ext cx="8563391" cy="400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88B8083D-798E-401C-BB0D-B4FFF9719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5-2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xmlns="" id="{36B56011-E6D4-4202-8A53-5A6AEA4C8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27928" y="648293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73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D6E85BC-18BD-48BE-8A0B-438D586708A3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20</a:t>
            </a:r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5156C94E-02F0-30A4-7563-19F89DDCC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8859" y="116634"/>
            <a:ext cx="506934" cy="43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0907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8043" y="170116"/>
            <a:ext cx="8563391" cy="4001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>
                <a:solidFill>
                  <a:schemeClr val="tx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88B8083D-798E-401C-BB0D-B4FFF9719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5-2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xmlns="" id="{36B56011-E6D4-4202-8A53-5A6AEA4C8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27928" y="6482934"/>
            <a:ext cx="2743200" cy="365125"/>
          </a:xfrm>
          <a:prstGeom prst="rect">
            <a:avLst/>
          </a:prstGeom>
        </p:spPr>
        <p:txBody>
          <a:bodyPr anchor="b"/>
          <a:lstStyle>
            <a:lvl1pPr algn="r">
              <a:defRPr sz="73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fld id="{1D6E85BC-18BD-48BE-8A0B-438D586708A3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20</a:t>
            </a:r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xmlns="" id="{5156C94E-02F0-30A4-7563-19F89DDCC6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8859" y="116634"/>
            <a:ext cx="506934" cy="43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344066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장">
    <p:bg>
      <p:bgPr>
        <a:solidFill>
          <a:sysClr val="window" lastClr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슬라이드 번호 개체 틀 5">
            <a:extLst>
              <a:ext uri="{FF2B5EF4-FFF2-40B4-BE49-F238E27FC236}">
                <a16:creationId xmlns:a16="http://schemas.microsoft.com/office/drawing/2014/main" xmlns="" id="{F2945E8C-E849-4D43-B443-030704E7F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78273" y="6424535"/>
            <a:ext cx="202406" cy="194215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554">
                <a:latin typeface="Noto Sans CJK KR Medium" panose="020B0600000000000000" pitchFamily="34" charset="-127"/>
                <a:ea typeface="Noto Sans CJK KR Medium" panose="020B0600000000000000" pitchFamily="34" charset="-127"/>
              </a:defRPr>
            </a:lvl1pPr>
          </a:lstStyle>
          <a:p>
            <a:fld id="{EE46CB3B-22D4-45B7-ACB3-C65C57F3601B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5705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theme" Target="../theme/theme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10" Type="http://schemas.openxmlformats.org/officeDocument/2006/relationships/image" Target="../media/image4.emf"/><Relationship Id="rId4" Type="http://schemas.openxmlformats.org/officeDocument/2006/relationships/vmlDrawing" Target="../drawings/vmlDrawing1.vml"/><Relationship Id="rId9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493159" y="116828"/>
            <a:ext cx="83740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127" y="791598"/>
            <a:ext cx="8929976" cy="556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0596" y="6571332"/>
            <a:ext cx="921573" cy="266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모서리가 둥근 직사각형 9"/>
          <p:cNvSpPr/>
          <p:nvPr userDrawn="1"/>
        </p:nvSpPr>
        <p:spPr bwMode="auto">
          <a:xfrm>
            <a:off x="8589261" y="44624"/>
            <a:ext cx="1274590" cy="288032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trictly Confidential </a:t>
            </a:r>
            <a:endParaRPr lang="ko-KR" altLang="en-US" sz="11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Line 2">
            <a:extLst>
              <a:ext uri="{FF2B5EF4-FFF2-40B4-BE49-F238E27FC236}">
                <a16:creationId xmlns:a16="http://schemas.microsoft.com/office/drawing/2014/main" xmlns="" id="{6DB63BB0-9A00-43E4-86A9-51F7FD7D6BF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01128" y="610551"/>
            <a:ext cx="892997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srgbClr val="000000"/>
              </a:solidFill>
            </a:endParaRPr>
          </a:p>
        </p:txBody>
      </p:sp>
      <p:sp>
        <p:nvSpPr>
          <p:cNvPr id="11" name="슬라이드 번호 개체 틀 4">
            <a:extLst>
              <a:ext uri="{FF2B5EF4-FFF2-40B4-BE49-F238E27FC236}">
                <a16:creationId xmlns:a16="http://schemas.microsoft.com/office/drawing/2014/main" xmlns="" id="{AE7D71FA-4DC5-4091-B015-30896BBE8645}"/>
              </a:ext>
            </a:extLst>
          </p:cNvPr>
          <p:cNvSpPr txBox="1">
            <a:spLocks/>
          </p:cNvSpPr>
          <p:nvPr userDrawn="1"/>
        </p:nvSpPr>
        <p:spPr>
          <a:xfrm>
            <a:off x="9072282" y="6571332"/>
            <a:ext cx="787448" cy="243182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>
              <a:defRPr/>
            </a:pPr>
            <a:fld id="{8E853F99-DCCA-4EE7-BBFF-101EC0F0C472}" type="slidenum">
              <a:rPr lang="ko-KR" altLang="en-US" sz="800" smtClean="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pPr algn="r">
                <a:defRPr/>
              </a:pPr>
              <a:t>‹#›</a:t>
            </a:fld>
            <a:r>
              <a:rPr lang="ko-KR" altLang="en-US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800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/ 11</a:t>
            </a:r>
            <a:endParaRPr lang="ko-KR" altLang="en-US" sz="800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038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3" r:id="rId3"/>
    <p:sldLayoutId id="2147483674" r:id="rId4"/>
    <p:sldLayoutId id="2147483675" r:id="rId5"/>
    <p:sldLayoutId id="2147483677" r:id="rId6"/>
    <p:sldLayoutId id="2147483686" r:id="rId7"/>
    <p:sldLayoutId id="2147483687" r:id="rId8"/>
    <p:sldLayoutId id="2147483688" r:id="rId9"/>
  </p:sldLayoutIdLst>
  <p:transition spd="med"/>
  <p:hf hdr="0" ftr="0" dt="0"/>
  <p:txStyles>
    <p:titleStyle>
      <a:lvl1pPr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</a:defRPr>
      </a:lvl1pPr>
      <a:lvl2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2pPr>
      <a:lvl3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3pPr>
      <a:lvl4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4pPr>
      <a:lvl5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9pPr>
    </p:titleStyle>
    <p:bodyStyle>
      <a:lvl1pPr marL="269875" indent="-269875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q"/>
        <a:defRPr kumimoji="1" sz="1400" b="1">
          <a:solidFill>
            <a:schemeClr val="tx1"/>
          </a:solidFill>
          <a:latin typeface="+mn-lt"/>
          <a:ea typeface="나눔고딕" panose="020D0604000000000000" pitchFamily="50" charset="-127"/>
          <a:cs typeface="+mn-cs"/>
        </a:defRPr>
      </a:lvl1pPr>
      <a:lvl2pPr marL="539750" indent="-179388" algn="l" rtl="0" fontAlgn="base" latinLnBrk="1">
        <a:lnSpc>
          <a:spcPct val="130000"/>
        </a:lnSpc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나눔고딕" panose="020D0604000000000000" pitchFamily="50" charset="-127"/>
        </a:defRPr>
      </a:lvl2pPr>
      <a:lvl3pPr marL="901700" indent="-182563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굴림" pitchFamily="50" charset="-127"/>
        <a:buChar char="-"/>
        <a:defRPr kumimoji="1" sz="1100">
          <a:solidFill>
            <a:schemeClr val="tx1"/>
          </a:solidFill>
          <a:latin typeface="+mn-lt"/>
          <a:ea typeface="나눔고딕" panose="020D0604000000000000" pitchFamily="50" charset="-127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493159" y="116828"/>
            <a:ext cx="83740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127" y="791598"/>
            <a:ext cx="8929976" cy="556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0596" y="6571332"/>
            <a:ext cx="921573" cy="266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모서리가 둥근 직사각형 9"/>
          <p:cNvSpPr/>
          <p:nvPr userDrawn="1"/>
        </p:nvSpPr>
        <p:spPr bwMode="auto">
          <a:xfrm>
            <a:off x="8589261" y="44624"/>
            <a:ext cx="1274590" cy="288032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trictly Confidential </a:t>
            </a:r>
            <a:endParaRPr lang="ko-KR" altLang="en-US" sz="1100" b="1" i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Line 2">
            <a:extLst>
              <a:ext uri="{FF2B5EF4-FFF2-40B4-BE49-F238E27FC236}">
                <a16:creationId xmlns:a16="http://schemas.microsoft.com/office/drawing/2014/main" xmlns="" id="{6DB63BB0-9A00-43E4-86A9-51F7FD7D6BF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01128" y="610551"/>
            <a:ext cx="8929975" cy="0"/>
          </a:xfrm>
          <a:prstGeom prst="line">
            <a:avLst/>
          </a:prstGeom>
          <a:noFill/>
          <a:ln w="63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928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00" r:id="rId2"/>
    <p:sldLayoutId id="2147483680" r:id="rId3"/>
    <p:sldLayoutId id="2147483701" r:id="rId4"/>
    <p:sldLayoutId id="2147483681" r:id="rId5"/>
    <p:sldLayoutId id="2147483682" r:id="rId6"/>
    <p:sldLayoutId id="2147483683" r:id="rId7"/>
    <p:sldLayoutId id="2147483684" r:id="rId8"/>
    <p:sldLayoutId id="2147483685" r:id="rId9"/>
  </p:sldLayoutIdLst>
  <p:transition spd="med"/>
  <p:hf hdr="0" ftr="0" dt="0"/>
  <p:txStyles>
    <p:titleStyle>
      <a:lvl1pPr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</a:defRPr>
      </a:lvl1pPr>
      <a:lvl2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2pPr>
      <a:lvl3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3pPr>
      <a:lvl4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4pPr>
      <a:lvl5pPr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Tahoma" pitchFamily="34" charset="0"/>
          <a:ea typeface="HY헤드라인M" pitchFamily="18" charset="-127"/>
        </a:defRPr>
      </a:lvl9pPr>
    </p:titleStyle>
    <p:bodyStyle>
      <a:lvl1pPr marL="269875" indent="-269875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q"/>
        <a:defRPr kumimoji="1" sz="1400" b="1">
          <a:solidFill>
            <a:schemeClr val="tx1"/>
          </a:solidFill>
          <a:latin typeface="+mn-lt"/>
          <a:ea typeface="나눔고딕" panose="020D0604000000000000" pitchFamily="50" charset="-127"/>
          <a:cs typeface="+mn-cs"/>
        </a:defRPr>
      </a:lvl1pPr>
      <a:lvl2pPr marL="539750" indent="-179388" algn="l" rtl="0" fontAlgn="base" latinLnBrk="1">
        <a:lnSpc>
          <a:spcPct val="130000"/>
        </a:lnSpc>
        <a:spcBef>
          <a:spcPct val="0"/>
        </a:spcBef>
        <a:spcAft>
          <a:spcPct val="0"/>
        </a:spcAft>
        <a:buChar char="•"/>
        <a:defRPr kumimoji="1" sz="1200">
          <a:solidFill>
            <a:schemeClr val="tx1"/>
          </a:solidFill>
          <a:latin typeface="+mn-lt"/>
          <a:ea typeface="나눔고딕" panose="020D0604000000000000" pitchFamily="50" charset="-127"/>
        </a:defRPr>
      </a:lvl2pPr>
      <a:lvl3pPr marL="901700" indent="-182563" algn="l" rtl="0" fontAlgn="base" latinLnBrk="1">
        <a:lnSpc>
          <a:spcPct val="130000"/>
        </a:lnSpc>
        <a:spcBef>
          <a:spcPct val="0"/>
        </a:spcBef>
        <a:spcAft>
          <a:spcPct val="0"/>
        </a:spcAft>
        <a:buFont typeface="굴림" pitchFamily="50" charset="-127"/>
        <a:buChar char="-"/>
        <a:defRPr kumimoji="1" sz="1100">
          <a:solidFill>
            <a:schemeClr val="tx1"/>
          </a:solidFill>
          <a:latin typeface="+mn-lt"/>
          <a:ea typeface="나눔고딕" panose="020D0604000000000000" pitchFamily="50" charset="-127"/>
        </a:defRPr>
      </a:lvl3pPr>
      <a:lvl4pPr marL="1600200" indent="-228600" algn="l" rtl="0" fontAlgn="base" latinLnBrk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34198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gray">
          <a:xfrm>
            <a:off x="291862" y="836712"/>
            <a:ext cx="9341658" cy="5616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92941" y="6534150"/>
            <a:ext cx="2988666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fontAlgn="base" latinLnBrk="0">
              <a:spcBef>
                <a:spcPct val="50000"/>
              </a:spcBef>
              <a:spcAft>
                <a:spcPct val="0"/>
              </a:spcAft>
            </a:pPr>
            <a:r>
              <a:rPr lang="en-US" sz="700">
                <a:solidFill>
                  <a:srgbClr val="7C848A"/>
                </a:solidFill>
                <a:cs typeface="Arial" charset="0"/>
                <a:sym typeface="Arial"/>
              </a:rPr>
              <a:t>© OLI Scenario 386</a:t>
            </a: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8"/>
            </p:custDataLst>
          </p:nvPr>
        </p:nvSpPr>
        <p:spPr bwMode="gray">
          <a:xfrm>
            <a:off x="4397052" y="6532791"/>
            <a:ext cx="111358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 fontAlgn="base" latinLnBrk="0">
              <a:spcAft>
                <a:spcPct val="0"/>
              </a:spcAft>
            </a:pPr>
            <a:endParaRPr lang="en-US"/>
          </a:p>
        </p:txBody>
      </p:sp>
      <p:sp>
        <p:nvSpPr>
          <p:cNvPr id="7" name="Line 2"/>
          <p:cNvSpPr>
            <a:spLocks noChangeShapeType="1"/>
          </p:cNvSpPr>
          <p:nvPr userDrawn="1"/>
        </p:nvSpPr>
        <p:spPr bwMode="auto">
          <a:xfrm flipV="1">
            <a:off x="271497" y="610551"/>
            <a:ext cx="9362023" cy="0"/>
          </a:xfrm>
          <a:prstGeom prst="line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1000">
              <a:ln w="38100">
                <a:solidFill>
                  <a:schemeClr val="tx1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3" name="제목 개체 틀 2"/>
          <p:cNvSpPr>
            <a:spLocks noGrp="1"/>
          </p:cNvSpPr>
          <p:nvPr>
            <p:ph type="title"/>
          </p:nvPr>
        </p:nvSpPr>
        <p:spPr>
          <a:xfrm>
            <a:off x="290169" y="152064"/>
            <a:ext cx="8543925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4"/>
          </p:nvPr>
        </p:nvSpPr>
        <p:spPr>
          <a:xfrm>
            <a:off x="9444928" y="6597352"/>
            <a:ext cx="428650" cy="2343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CB0F92F-3965-4F34-B7FF-419C6FA1D5AF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4821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9" r:id="rId2"/>
  </p:sldLayoutIdLst>
  <p:hf hdr="0" ftr="0" dt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Y견고딕" panose="02030600000101010101" pitchFamily="18" charset="-127"/>
          <a:ea typeface="HY견고딕" panose="02030600000101010101" pitchFamily="18" charset="-127"/>
          <a:cs typeface="+mj-cs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265113" indent="-26511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맑은 고딕" panose="020B0503020000020004" pitchFamily="50" charset="-127"/>
        <a:buChar char="▣"/>
        <a:defRPr sz="1400" b="1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539750" indent="-25876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l"/>
        <a:defRPr sz="1400">
          <a:solidFill>
            <a:schemeClr val="tx1"/>
          </a:solidFill>
          <a:latin typeface="+mn-lt"/>
          <a:cs typeface="+mn-cs"/>
          <a:sym typeface="Arial"/>
        </a:defRPr>
      </a:lvl2pPr>
      <a:lvl3pPr marL="712788" indent="-171450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+mn-cs"/>
          <a:sym typeface="Arial"/>
        </a:defRPr>
      </a:lvl3pPr>
      <a:lvl4pPr marL="987425" indent="-182563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cs typeface="+mn-cs"/>
          <a:sym typeface="Arial"/>
        </a:defRPr>
      </a:lvl4pPr>
      <a:lvl5pPr marL="1162050" indent="-173038" algn="l" rtl="0" eaLnBrk="1" fontAlgn="base" hangingPunct="1">
        <a:lnSpc>
          <a:spcPts val="1800"/>
        </a:lnSpc>
        <a:spcBef>
          <a:spcPts val="300"/>
        </a:spcBef>
        <a:spcAft>
          <a:spcPts val="30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092" y="87830"/>
            <a:ext cx="9245631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4300" y="785794"/>
            <a:ext cx="9402134" cy="5715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슬라이드 번호 개체 틀 4"/>
          <p:cNvSpPr txBox="1">
            <a:spLocks/>
          </p:cNvSpPr>
          <p:nvPr userDrawn="1"/>
        </p:nvSpPr>
        <p:spPr>
          <a:xfrm>
            <a:off x="9129464" y="6597354"/>
            <a:ext cx="704528" cy="236821"/>
          </a:xfrm>
          <a:prstGeom prst="rect">
            <a:avLst/>
          </a:prstGeom>
        </p:spPr>
        <p:txBody>
          <a:bodyPr lIns="32659" tIns="32659" rIns="32659" bIns="32659" anchor="ctr"/>
          <a:lstStyle>
            <a:lvl1pPr algn="ctr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pPr algn="r">
              <a:defRPr/>
            </a:pPr>
            <a:endParaRPr lang="ko-KR" altLang="en-US" sz="907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9201472" y="6624513"/>
            <a:ext cx="704528" cy="233773"/>
          </a:xfrm>
          <a:prstGeom prst="rect">
            <a:avLst/>
          </a:prstGeom>
        </p:spPr>
        <p:txBody>
          <a:bodyPr/>
          <a:lstStyle>
            <a:lvl1pPr algn="r">
              <a:defRPr sz="907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defRPr>
            </a:lvl1pPr>
          </a:lstStyle>
          <a:p>
            <a:fld id="{72EC6EA6-60A6-4E9A-BA8E-F1C90815A9AE}" type="slidenum">
              <a:rPr lang="ko-KR" altLang="en-US" smtClean="0"/>
              <a:pPr/>
              <a:t>‹#›</a:t>
            </a:fld>
            <a:r>
              <a:rPr lang="en-US" altLang="ko-KR"/>
              <a:t>/8</a:t>
            </a:r>
          </a:p>
        </p:txBody>
      </p:sp>
      <p:sp>
        <p:nvSpPr>
          <p:cNvPr id="7" name="Line 2"/>
          <p:cNvSpPr>
            <a:spLocks noChangeShapeType="1"/>
          </p:cNvSpPr>
          <p:nvPr userDrawn="1"/>
        </p:nvSpPr>
        <p:spPr bwMode="auto">
          <a:xfrm flipV="1">
            <a:off x="216189" y="610551"/>
            <a:ext cx="9430245" cy="0"/>
          </a:xfrm>
          <a:prstGeom prst="line">
            <a:avLst/>
          </a:prstGeom>
          <a:noFill/>
          <a:ln w="19050">
            <a:solidFill>
              <a:srgbClr val="9292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fontAlgn="base" latinLnBrk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z="90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409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6" r:id="rId2"/>
    <p:sldLayoutId id="2147483667" r:id="rId3"/>
  </p:sldLayoutIdLst>
  <p:transition/>
  <p:hf hdr="0" ftr="0" dt="0"/>
  <p:txStyles>
    <p:titleStyle>
      <a:lvl1pPr algn="l" rtl="0" eaLnBrk="1" fontAlgn="base" latinLnBrk="1" hangingPunct="1">
        <a:spcBef>
          <a:spcPct val="0"/>
        </a:spcBef>
        <a:spcAft>
          <a:spcPct val="0"/>
        </a:spcAft>
        <a:defRPr kumimoji="1" sz="2177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2pPr>
      <a:lvl3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3pPr>
      <a:lvl4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4pPr>
      <a:lvl5pPr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5pPr>
      <a:lvl6pPr marL="414772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6pPr>
      <a:lvl7pPr marL="829544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7pPr>
      <a:lvl8pPr marL="1244316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8pPr>
      <a:lvl9pPr marL="1659087" algn="l" rtl="0" eaLnBrk="1" fontAlgn="base" latinLnBrk="1" hangingPunct="1">
        <a:spcBef>
          <a:spcPct val="0"/>
        </a:spcBef>
        <a:spcAft>
          <a:spcPct val="0"/>
        </a:spcAft>
        <a:defRPr kumimoji="1" sz="1814">
          <a:solidFill>
            <a:srgbClr val="000066"/>
          </a:solidFill>
          <a:latin typeface="Arial Black" pitchFamily="34" charset="0"/>
          <a:ea typeface="휴먼둥근헤드라인" pitchFamily="18" charset="-127"/>
        </a:defRPr>
      </a:lvl9pPr>
    </p:titleStyle>
    <p:bodyStyle>
      <a:lvl1pPr marL="249152" indent="-249152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q"/>
        <a:defRPr kumimoji="1" sz="1270" b="1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567431" indent="-239070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l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marL="815142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Wingdings" pitchFamily="2" charset="2"/>
        <a:buChar char="§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marL="1055652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Char char="•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marL="1304803" indent="-207386" algn="l" rtl="0" eaLnBrk="1" fontAlgn="base" latinLnBrk="1" hangingPunct="1">
        <a:lnSpc>
          <a:spcPct val="12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2176112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6pPr>
      <a:lvl7pPr marL="2590884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7pPr>
      <a:lvl8pPr marL="3005656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8pPr>
      <a:lvl9pPr marL="3420428" indent="-207386" algn="l" rtl="0" eaLnBrk="1" fontAlgn="base" latinLnBrk="1" hangingPunct="1">
        <a:lnSpc>
          <a:spcPct val="115000"/>
        </a:lnSpc>
        <a:spcBef>
          <a:spcPct val="20000"/>
        </a:spcBef>
        <a:spcAft>
          <a:spcPct val="10000"/>
        </a:spcAft>
        <a:buFont typeface="Arial" charset="0"/>
        <a:buChar char="­"/>
        <a:defRPr kumimoji="1" sz="127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개체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:a16="http://schemas.microsoft.com/office/drawing/2014/main" xmlns="" id="{CC1BDCC1-0CE2-4038-8D34-607C958DE7A8}"/>
              </a:ext>
            </a:extLst>
          </p:cNvPr>
          <p:cNvSpPr/>
          <p:nvPr/>
        </p:nvSpPr>
        <p:spPr>
          <a:xfrm>
            <a:off x="488515" y="253301"/>
            <a:ext cx="6346851" cy="33054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Ⅱ. </a:t>
            </a:r>
            <a:r>
              <a:rPr kumimoji="0" lang="ko-KR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경영 성과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– </a:t>
            </a:r>
            <a:r>
              <a:rPr lang="en-US" altLang="ko-KR" sz="140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rgbClr val="000000"/>
                </a:solidFill>
                <a:latin typeface="나눔고딕"/>
                <a:ea typeface="나눔고딕"/>
                <a:cs typeface="Arial"/>
              </a:rPr>
              <a:t>'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24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년 목표 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(</a:t>
            </a:r>
            <a:r>
              <a: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연결</a:t>
            </a:r>
            <a:r>
              <a:rPr kumimoji="0" lang="en-US" altLang="ko-K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Arial" panose="020B0604020202020204" pitchFamily="34" charset="0"/>
              </a:rPr>
              <a:t>)</a:t>
            </a:r>
            <a:endParaRPr kumimoji="0" lang="ko-KR" alt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5" name="내용 개체 틀 2">
            <a:extLst>
              <a:ext uri="{FF2B5EF4-FFF2-40B4-BE49-F238E27FC236}">
                <a16:creationId xmlns:a16="http://schemas.microsoft.com/office/drawing/2014/main" xmlns="" id="{0234BB7E-8728-4804-8710-F3750E950757}"/>
              </a:ext>
            </a:extLst>
          </p:cNvPr>
          <p:cNvSpPr txBox="1">
            <a:spLocks/>
          </p:cNvSpPr>
          <p:nvPr/>
        </p:nvSpPr>
        <p:spPr bwMode="auto">
          <a:xfrm>
            <a:off x="5660811" y="1040538"/>
            <a:ext cx="4390827" cy="68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매출액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145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ko-KR" altLang="en-US" sz="1000" b="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열판매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432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(INT +222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/ WITH +338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전기판매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575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(INT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588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/ WITH +13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변동비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479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ko-KR" altLang="en-US" sz="1000" b="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가스비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589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(INT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595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/ WITH +6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외부수열 등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110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(INT +38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/ WITH +64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180975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None/>
              <a:tabLst>
                <a:tab pos="180975" algn="l"/>
              </a:tabLst>
            </a:pPr>
            <a:endParaRPr lang="en-US" altLang="ko-KR" sz="1000" b="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4D212644-B751-402D-A329-7C2EA25994CE}"/>
              </a:ext>
            </a:extLst>
          </p:cNvPr>
          <p:cNvSpPr txBox="1"/>
          <p:nvPr/>
        </p:nvSpPr>
        <p:spPr>
          <a:xfrm>
            <a:off x="5661277" y="764702"/>
            <a:ext cx="2952328" cy="2758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 fontAlgn="ctr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ko-KR" altLang="en-US" sz="11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공헌이익</a:t>
            </a:r>
            <a:endParaRPr lang="en-US" altLang="ko-KR" sz="11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xmlns="" id="{C107217C-887B-4D53-B329-4BD2F332C8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4730804"/>
              </p:ext>
            </p:extLst>
          </p:nvPr>
        </p:nvGraphicFramePr>
        <p:xfrm>
          <a:off x="488950" y="764703"/>
          <a:ext cx="4895852" cy="5725002"/>
        </p:xfrm>
        <a:graphic>
          <a:graphicData uri="http://schemas.openxmlformats.org/drawingml/2006/table">
            <a:tbl>
              <a:tblPr/>
              <a:tblGrid>
                <a:gridCol w="152767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74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9357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9357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9357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035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단위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: </a:t>
                      </a:r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억원</a:t>
                      </a:r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)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3 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추정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100">
                          <a:ln>
                            <a:solidFill>
                              <a:prstClr val="white">
                                <a:alpha val="0"/>
                              </a:prstClr>
                            </a:solidFill>
                          </a:ln>
                          <a:solidFill>
                            <a:schemeClr val="bg1"/>
                          </a:solidFill>
                          <a:latin typeface="나눔고딕"/>
                          <a:ea typeface="나눔고딕"/>
                          <a:cs typeface="Arial"/>
                        </a:rPr>
                        <a:t>'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24</a:t>
                      </a:r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년 목표</a:t>
                      </a:r>
                      <a: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B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차이</a:t>
                      </a:r>
                      <a: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  <a:t/>
                      </a:r>
                      <a:br>
                        <a:rPr lang="en-US" altLang="ko-KR" sz="1100" b="1" i="0" u="none" strike="noStrike">
                          <a:solidFill>
                            <a:srgbClr val="FFFFFF"/>
                          </a:solidFill>
                          <a:effectLst/>
                          <a:latin typeface="나눔고딕"/>
                          <a:ea typeface="나눔고딕"/>
                        </a:rPr>
                      </a:br>
                      <a:r>
                        <a:rPr lang="en-US" altLang="ko-KR" sz="900" b="1" i="0" u="none" strike="noStrike">
                          <a:solidFill>
                            <a:schemeClr val="bg1"/>
                          </a:solidFill>
                          <a:effectLst/>
                          <a:latin typeface="나눔고딕"/>
                          <a:ea typeface="나눔고딕"/>
                        </a:rPr>
                        <a:t>(B-A)</a:t>
                      </a:r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615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100" b="1" i="0" u="none" strike="noStrike"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6E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59018">
                <a:tc>
                  <a:txBody>
                    <a:bodyPr/>
                    <a:lstStyle/>
                    <a:p>
                      <a:pPr algn="l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36000" marR="36000" marT="9525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4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　</a:t>
                      </a: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400" b="1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9525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매출액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,261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3,11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45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   </a:t>
                      </a:r>
                      <a:r>
                        <a:rPr lang="ko-KR" altLang="en-US" sz="1000" u="none" strike="noStrike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열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270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70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432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전기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,882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30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575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기타매출</a:t>
                      </a:r>
                      <a:endParaRPr lang="ko-KR" altLang="en-US" sz="10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1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09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0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나눔고딕"/>
                          <a:ea typeface="나눔고딕"/>
                        </a:rPr>
                        <a:t>2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공헌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858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,19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34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OPEX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+mn-ea"/>
                          <a:cs typeface="+mn-cs"/>
                        </a:rPr>
                        <a:t>△280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34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6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marL="0" marR="0" lvl="0" indent="0" algn="l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배출권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 수익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비용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17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8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감가상각비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248</a:t>
                      </a:r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91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영업이익</a:t>
                      </a: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46</a:t>
                      </a: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583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237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순금융비용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81</a:t>
                      </a:r>
                      <a:endParaRPr lang="en-US" altLang="ko-KR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16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 </a:t>
                      </a:r>
                      <a:r>
                        <a:rPr lang="ko-KR" altLang="en-U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영업외손익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352</a:t>
                      </a:r>
                      <a:endParaRPr lang="en-US" altLang="ko-KR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2</a:t>
                      </a:r>
                    </a:p>
                  </a:txBody>
                  <a:tcPr marL="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350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법인세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r>
                        <a:rPr lang="en-US" altLang="ko-KR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△55</a:t>
                      </a:r>
                      <a:endParaRPr lang="en-US" altLang="ko-KR" sz="1000" b="0" i="0" u="none" strike="noStrike" kern="120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102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47</a:t>
                      </a:r>
                      <a:endParaRPr lang="en-US" altLang="ko-KR" sz="10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75865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 err="1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세후이익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나눔고딕"/>
                        <a:ea typeface="나눔고딕"/>
                      </a:endParaRPr>
                    </a:p>
                  </a:txBody>
                  <a:tcPr marL="72000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300" b="0" i="0" u="none" strike="noStrike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r" rtl="0">
                        <a:buNone/>
                      </a:pPr>
                      <a:r>
                        <a:rPr lang="en-US" altLang="ko-KR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나눔고딕"/>
                          <a:ea typeface="나눔고딕"/>
                          <a:cs typeface="+mn-cs"/>
                        </a:rPr>
                        <a:t>562</a:t>
                      </a:r>
                    </a:p>
                  </a:txBody>
                  <a:tcPr marL="36000" marR="72000" marT="0" marB="0" anchor="ctr">
                    <a:lnL>
                      <a:noFill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4214FE"/>
                          </a:solidFill>
                          <a:effectLst/>
                          <a:latin typeface="나눔고딕"/>
                          <a:ea typeface="나눔고딕"/>
                        </a:rPr>
                        <a:t>367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△</a:t>
                      </a:r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effectLst/>
                          <a:latin typeface="나눔고딕"/>
                          <a:ea typeface="나눔고딕"/>
                        </a:rPr>
                        <a:t>195</a:t>
                      </a:r>
                    </a:p>
                  </a:txBody>
                  <a:tcPr marL="36000" marR="7200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20" name="내용 개체 틀 2">
            <a:extLst>
              <a:ext uri="{FF2B5EF4-FFF2-40B4-BE49-F238E27FC236}">
                <a16:creationId xmlns:a16="http://schemas.microsoft.com/office/drawing/2014/main" xmlns="" id="{0234BB7E-8728-4804-8710-F3750E950757}"/>
              </a:ext>
            </a:extLst>
          </p:cNvPr>
          <p:cNvSpPr txBox="1">
            <a:spLocks/>
          </p:cNvSpPr>
          <p:nvPr/>
        </p:nvSpPr>
        <p:spPr bwMode="auto">
          <a:xfrm>
            <a:off x="5660811" y="3128697"/>
            <a:ext cx="4390827" cy="1509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OPEX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63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00038" lvl="1" indent="-119063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INT 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56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지급수수료 등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) / WITH 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37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</a:p>
          <a:p>
            <a:pPr marL="300038" lvl="1" indent="-119063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간주취득세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+31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감가상각비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43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INT 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5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/ WITH 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51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b="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endParaRPr lang="en-US" altLang="ko-KR" sz="1000" b="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4D212644-B751-402D-A329-7C2EA25994CE}"/>
              </a:ext>
            </a:extLst>
          </p:cNvPr>
          <p:cNvSpPr txBox="1"/>
          <p:nvPr/>
        </p:nvSpPr>
        <p:spPr>
          <a:xfrm>
            <a:off x="5661277" y="2852861"/>
            <a:ext cx="2952328" cy="2758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 fontAlgn="ctr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ko-KR" altLang="en-US" sz="11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영업이익</a:t>
            </a:r>
            <a:endParaRPr lang="en-US" altLang="ko-KR" sz="11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2" name="내용 개체 틀 2">
            <a:extLst>
              <a:ext uri="{FF2B5EF4-FFF2-40B4-BE49-F238E27FC236}">
                <a16:creationId xmlns:a16="http://schemas.microsoft.com/office/drawing/2014/main" xmlns="" id="{0234BB7E-8728-4804-8710-F3750E950757}"/>
              </a:ext>
            </a:extLst>
          </p:cNvPr>
          <p:cNvSpPr txBox="1">
            <a:spLocks/>
          </p:cNvSpPr>
          <p:nvPr/>
        </p:nvSpPr>
        <p:spPr bwMode="auto">
          <a:xfrm>
            <a:off x="5661129" y="4990322"/>
            <a:ext cx="4390827" cy="1072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q"/>
              <a:defRPr kumimoji="1" sz="1400" b="1">
                <a:solidFill>
                  <a:schemeClr val="tx1"/>
                </a:solidFill>
                <a:latin typeface="+mn-lt"/>
                <a:ea typeface="맑은 고딕" pitchFamily="50" charset="-127"/>
                <a:cs typeface="+mn-cs"/>
              </a:defRPr>
            </a:lvl1pPr>
            <a:lvl2pPr marL="539750" indent="-179388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kumimoji="1" sz="12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2pPr>
            <a:lvl3pPr marL="901700" indent="-182563" algn="l" rtl="0" fontAlgn="base" latinLnBrk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굴림" pitchFamily="50" charset="-127"/>
              <a:buChar char="-"/>
              <a:defRPr kumimoji="1" sz="1100">
                <a:solidFill>
                  <a:schemeClr val="tx1"/>
                </a:solidFill>
                <a:latin typeface="+mn-lt"/>
                <a:ea typeface="맑은 고딕" pitchFamily="50" charset="-127"/>
              </a:defRPr>
            </a:lvl3pPr>
            <a:lvl4pPr marL="1600200" indent="-228600" algn="l" rtl="0" fontAlgn="base" latinLnBrk="1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순금융비용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35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INT :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29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차입금 증가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+866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) / WITH 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7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  <a:endParaRPr lang="en-US" altLang="ko-KR" sz="1000" b="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indent="-1800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ko-KR" altLang="en-US" sz="1000" kern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영업외손익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△</a:t>
            </a:r>
            <a:r>
              <a:rPr lang="en-US" altLang="ko-KR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349</a:t>
            </a:r>
            <a:r>
              <a:rPr lang="ko-KR" altLang="en-US" sz="100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</a:t>
            </a:r>
          </a:p>
          <a:p>
            <a:pPr marL="295275" indent="-1143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염가매수차익 </a:t>
            </a:r>
            <a:r>
              <a:rPr lang="en-US" altLang="ko-KR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337</a:t>
            </a:r>
            <a:r>
              <a:rPr lang="ko-KR" altLang="en-US" sz="1000" b="0" kern="0"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endParaRPr lang="en-US" altLang="ko-KR" sz="1000" b="0" ker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D212644-B751-402D-A329-7C2EA25994CE}"/>
              </a:ext>
            </a:extLst>
          </p:cNvPr>
          <p:cNvSpPr txBox="1"/>
          <p:nvPr/>
        </p:nvSpPr>
        <p:spPr>
          <a:xfrm>
            <a:off x="5661277" y="4714486"/>
            <a:ext cx="2952328" cy="2758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marL="171450" indent="-171450" fontAlgn="ctr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ko-KR" altLang="en-US" sz="1100" b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100" b="1" err="1">
                <a:solidFill>
                  <a:srgbClr val="0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세후이익</a:t>
            </a:r>
            <a:endParaRPr lang="en-US" altLang="ko-KR" sz="1100" b="1">
              <a:solidFill>
                <a:srgbClr val="0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D3566EFC-E10D-67ED-2195-E37C47392FEE}"/>
              </a:ext>
            </a:extLst>
          </p:cNvPr>
          <p:cNvSpPr txBox="1"/>
          <p:nvPr/>
        </p:nvSpPr>
        <p:spPr>
          <a:xfrm>
            <a:off x="7765641" y="3849039"/>
            <a:ext cx="1992816" cy="369332"/>
          </a:xfrm>
          <a:prstGeom prst="rect">
            <a:avLst/>
          </a:prstGeom>
          <a:solidFill>
            <a:srgbClr val="FFFEE6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0" rIns="0" bIns="0" rtlCol="0" anchor="ctr">
            <a:spAutoFit/>
          </a:bodyPr>
          <a:lstStyle/>
          <a:p>
            <a:pPr defTabSz="623888">
              <a:lnSpc>
                <a:spcPct val="150000"/>
              </a:lnSpc>
            </a:pP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’23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년 연결 손익은 </a:t>
            </a:r>
            <a:r>
              <a:rPr lang="ko-KR" altLang="en-US" sz="800" err="1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위드의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하반기 손익만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defTabSz="623888">
              <a:lnSpc>
                <a:spcPct val="150000"/>
              </a:lnSpc>
            </a:pP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져와서</a:t>
            </a:r>
            <a:r>
              <a:rPr lang="en-US" altLang="ko-KR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OPEX, Dep </a:t>
            </a:r>
            <a:r>
              <a:rPr lang="ko-KR" alt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쪽 임팩트가 커 보임</a:t>
            </a:r>
            <a:endParaRPr lang="en-US" altLang="ko-KR" sz="800">
              <a:solidFill>
                <a:schemeClr val="tx1">
                  <a:lumMod val="50000"/>
                  <a:lumOff val="50000"/>
                </a:schemeClr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205322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HY헤드라인M"/>
        <a:cs typeface=""/>
      </a:majorFont>
      <a:minorFont>
        <a:latin typeface="Tahoma"/>
        <a:ea typeface="HY헤드라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FF"/>
        </a:solidFill>
        <a:ln w="9525">
          <a:solidFill>
            <a:schemeClr val="bg1">
              <a:lumMod val="85000"/>
            </a:schemeClr>
          </a:solidFill>
        </a:ln>
      </a:spPr>
      <a:bodyPr lIns="36000" tIns="0" rIns="36000" bIns="0" rtlCol="0" anchor="ctr"/>
      <a:lstStyle>
        <a:defPPr>
          <a:defRPr sz="90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b="1" dirty="0" smtClean="0">
            <a:solidFill>
              <a:srgbClr val="FF0000"/>
            </a:solidFill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HY헤드라인M"/>
        <a:cs typeface=""/>
      </a:majorFont>
      <a:minorFont>
        <a:latin typeface="Tahoma"/>
        <a:ea typeface="HY헤드라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FF"/>
        </a:solidFill>
        <a:ln w="9525">
          <a:solidFill>
            <a:schemeClr val="bg1">
              <a:lumMod val="85000"/>
            </a:schemeClr>
          </a:solidFill>
        </a:ln>
      </a:spPr>
      <a:bodyPr lIns="36000" tIns="0" rIns="36000" bIns="0" rtlCol="0" anchor="ctr"/>
      <a:lstStyle>
        <a:defPPr>
          <a:defRPr sz="900" dirty="0" smtClean="0">
            <a:solidFill>
              <a:schemeClr val="tx1"/>
            </a:solidFill>
            <a:latin typeface="맑은 고딕" pitchFamily="50" charset="-127"/>
            <a:ea typeface="맑은 고딕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b="1" dirty="0" smtClean="0">
            <a:solidFill>
              <a:srgbClr val="FF0000"/>
            </a:solidFill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S">
  <a:themeElements>
    <a:clrScheme name="사용자 지정 1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4.xml><?xml version="1.0" encoding="utf-8"?>
<a:theme xmlns:a="http://schemas.openxmlformats.org/drawingml/2006/main" name="0_전략기획실_서식">
  <a:themeElements>
    <a:clrScheme name="디자인 사용자 지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디자인 사용자 지정">
      <a:majorFont>
        <a:latin typeface="Arial Black"/>
        <a:ea typeface="휴먼둥근헤드라인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bg1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36000" rIns="72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f7dfad6-22e3-457f-a69c-c119f0c0187a">
      <Terms xmlns="http://schemas.microsoft.com/office/infopath/2007/PartnerControls"/>
    </lcf76f155ced4ddcb4097134ff3c332f>
    <TaxCatchAll xmlns="aeead22d-ce5d-4b35-9e3b-a2f4a8d7da3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11ADAC136B29F444AA5698056453CA0B" ma:contentTypeVersion="9" ma:contentTypeDescription="새 문서를 만듭니다." ma:contentTypeScope="" ma:versionID="9309d02ca83f8e01efa5c8f08bf8e347">
  <xsd:schema xmlns:xsd="http://www.w3.org/2001/XMLSchema" xmlns:xs="http://www.w3.org/2001/XMLSchema" xmlns:p="http://schemas.microsoft.com/office/2006/metadata/properties" xmlns:ns2="3f7dfad6-22e3-457f-a69c-c119f0c0187a" xmlns:ns3="aeead22d-ce5d-4b35-9e3b-a2f4a8d7da34" targetNamespace="http://schemas.microsoft.com/office/2006/metadata/properties" ma:root="true" ma:fieldsID="34373261172b8be22a5fa3b855ad9689" ns2:_="" ns3:_="">
    <xsd:import namespace="3f7dfad6-22e3-457f-a69c-c119f0c0187a"/>
    <xsd:import namespace="aeead22d-ce5d-4b35-9e3b-a2f4a8d7da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7dfad6-22e3-457f-a69c-c119f0c018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이미지 태그" ma:readOnly="false" ma:fieldId="{5cf76f15-5ced-4ddc-b409-7134ff3c332f}" ma:taxonomyMulti="true" ma:sspId="4fa7ea9a-cfac-4c98-8919-1072f07f86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ead22d-ce5d-4b35-9e3b-a2f4a8d7da34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a29cb6e6-47b0-4940-9295-4e89ad1faebf}" ma:internalName="TaxCatchAll" ma:showField="CatchAllData" ma:web="aeead22d-ce5d-4b35-9e3b-a2f4a8d7da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EF209FC-7170-4340-975D-D4DEDB1D0958}">
  <ds:schemaRefs>
    <ds:schemaRef ds:uri="3f7dfad6-22e3-457f-a69c-c119f0c0187a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eead22d-ce5d-4b35-9e3b-a2f4a8d7da34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1192CCC-D5FF-4B2E-9DE1-ED19BA507D82}">
  <ds:schemaRefs>
    <ds:schemaRef ds:uri="3f7dfad6-22e3-457f-a69c-c119f0c0187a"/>
    <ds:schemaRef ds:uri="aeead22d-ce5d-4b35-9e3b-a2f4a8d7da3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0C17759-0287-4720-82D8-8CF5BABDF7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</TotalTime>
  <Words>260</Words>
  <Application>Microsoft Office PowerPoint</Application>
  <PresentationFormat>A4 용지(210x297mm)</PresentationFormat>
  <Paragraphs>79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12</vt:i4>
      </vt:variant>
      <vt:variant>
        <vt:lpstr>테마</vt:lpstr>
      </vt:variant>
      <vt:variant>
        <vt:i4>4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18" baseType="lpstr">
      <vt:lpstr>HY견고딕</vt:lpstr>
      <vt:lpstr>HY헤드라인M</vt:lpstr>
      <vt:lpstr>Noto Sans CJK KR Medium</vt:lpstr>
      <vt:lpstr>굴림</vt:lpstr>
      <vt:lpstr>나눔고딕</vt:lpstr>
      <vt:lpstr>맑은 고딕</vt:lpstr>
      <vt:lpstr>휴먼둥근헤드라인</vt:lpstr>
      <vt:lpstr>Arial</vt:lpstr>
      <vt:lpstr>Arial Black</vt:lpstr>
      <vt:lpstr>Tahoma</vt:lpstr>
      <vt:lpstr>Times New Roman</vt:lpstr>
      <vt:lpstr>Wingdings</vt:lpstr>
      <vt:lpstr>2_기본 디자인</vt:lpstr>
      <vt:lpstr>3_기본 디자인</vt:lpstr>
      <vt:lpstr>SS</vt:lpstr>
      <vt:lpstr>0_전략기획실_서식</vt:lpstr>
      <vt:lpstr>think-cell Slide</vt:lpstr>
      <vt:lpstr>PowerPoint 프레젠테이션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희진/사원A/경영기획팀/INT</dc:creator>
  <cp:lastModifiedBy>user</cp:lastModifiedBy>
  <cp:revision>8</cp:revision>
  <cp:lastPrinted>2023-10-25T01:20:09Z</cp:lastPrinted>
  <dcterms:created xsi:type="dcterms:W3CDTF">2023-09-22T07:25:44Z</dcterms:created>
  <dcterms:modified xsi:type="dcterms:W3CDTF">2024-05-25T08:3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DAC136B29F444AA5698056453CA0B</vt:lpwstr>
  </property>
  <property fmtid="{D5CDD505-2E9C-101B-9397-08002B2CF9AE}" pid="3" name="MediaServiceImageTags">
    <vt:lpwstr/>
  </property>
</Properties>
</file>